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58" r:id="rId7"/>
  </p:sldIdLst>
  <p:sldSz cx="12192000" cy="6858000"/>
  <p:notesSz cx="6858000" cy="9144000"/>
  <p:custDataLst>
    <p:tags r:id="rId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3E8AE6-45D7-E74F-A75D-1581AC40A19E}" v="401" dt="2021-02-05T15:47:08.676"/>
    <p1510:client id="{6A90B17D-90D0-70B7-8415-DD4B26E07DBC}" v="1" dt="2021-02-09T11:55:28.229"/>
    <p1510:client id="{AA9D6D21-6F81-87FC-81A6-ACACF7D37D9A}" v="44" dt="2021-02-05T16:25:54.10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 Steinkuhler" userId="S::tim.steinkuhler@knab.nl::beffdc1d-4e7a-4c01-919b-797508770cb4" providerId="AD" clId="Web-{AA9D6D21-6F81-87FC-81A6-ACACF7D37D9A}"/>
    <pc:docChg chg="modSld">
      <pc:chgData name="Tim Steinkuhler" userId="S::tim.steinkuhler@knab.nl::beffdc1d-4e7a-4c01-919b-797508770cb4" providerId="AD" clId="Web-{AA9D6D21-6F81-87FC-81A6-ACACF7D37D9A}" dt="2021-02-05T16:25:54.103" v="44" actId="20577"/>
      <pc:docMkLst>
        <pc:docMk/>
      </pc:docMkLst>
      <pc:sldChg chg="modSp">
        <pc:chgData name="Tim Steinkuhler" userId="S::tim.steinkuhler@knab.nl::beffdc1d-4e7a-4c01-919b-797508770cb4" providerId="AD" clId="Web-{AA9D6D21-6F81-87FC-81A6-ACACF7D37D9A}" dt="2021-02-05T16:25:10.055" v="3" actId="20577"/>
        <pc:sldMkLst>
          <pc:docMk/>
          <pc:sldMk cId="3622062168" sldId="257"/>
        </pc:sldMkLst>
        <pc:spChg chg="mod">
          <ac:chgData name="Tim Steinkuhler" userId="S::tim.steinkuhler@knab.nl::beffdc1d-4e7a-4c01-919b-797508770cb4" providerId="AD" clId="Web-{AA9D6D21-6F81-87FC-81A6-ACACF7D37D9A}" dt="2021-02-05T16:25:10.055" v="3" actId="20577"/>
          <ac:spMkLst>
            <pc:docMk/>
            <pc:sldMk cId="3622062168" sldId="257"/>
            <ac:spMk id="6" creationId="{2994ECE7-9A92-784D-A21D-3209008F5D22}"/>
          </ac:spMkLst>
        </pc:spChg>
      </pc:sldChg>
      <pc:sldChg chg="modSp">
        <pc:chgData name="Tim Steinkuhler" userId="S::tim.steinkuhler@knab.nl::beffdc1d-4e7a-4c01-919b-797508770cb4" providerId="AD" clId="Web-{AA9D6D21-6F81-87FC-81A6-ACACF7D37D9A}" dt="2021-02-05T16:25:54.103" v="44" actId="20577"/>
        <pc:sldMkLst>
          <pc:docMk/>
          <pc:sldMk cId="971664958" sldId="258"/>
        </pc:sldMkLst>
        <pc:spChg chg="mod">
          <ac:chgData name="Tim Steinkuhler" userId="S::tim.steinkuhler@knab.nl::beffdc1d-4e7a-4c01-919b-797508770cb4" providerId="AD" clId="Web-{AA9D6D21-6F81-87FC-81A6-ACACF7D37D9A}" dt="2021-02-05T16:25:54.103" v="44" actId="20577"/>
          <ac:spMkLst>
            <pc:docMk/>
            <pc:sldMk cId="971664958" sldId="258"/>
            <ac:spMk id="6" creationId="{2994ECE7-9A92-784D-A21D-3209008F5D22}"/>
          </ac:spMkLst>
        </pc:spChg>
      </pc:sldChg>
    </pc:docChg>
  </pc:docChgLst>
  <pc:docChgLst>
    <pc:chgData name="Tim Steinkuhler" userId="beffdc1d-4e7a-4c01-919b-797508770cb4" providerId="ADAL" clId="{633E8AE6-45D7-E74F-A75D-1581AC40A19E}"/>
    <pc:docChg chg="undo custSel modSld">
      <pc:chgData name="Tim Steinkuhler" userId="beffdc1d-4e7a-4c01-919b-797508770cb4" providerId="ADAL" clId="{633E8AE6-45D7-E74F-A75D-1581AC40A19E}" dt="2021-02-05T15:47:08.144" v="626" actId="404"/>
      <pc:docMkLst>
        <pc:docMk/>
      </pc:docMkLst>
      <pc:sldChg chg="addSp delSp modSp mod modClrScheme chgLayout">
        <pc:chgData name="Tim Steinkuhler" userId="beffdc1d-4e7a-4c01-919b-797508770cb4" providerId="ADAL" clId="{633E8AE6-45D7-E74F-A75D-1581AC40A19E}" dt="2021-02-05T15:38:02.459" v="624"/>
        <pc:sldMkLst>
          <pc:docMk/>
          <pc:sldMk cId="3622062168" sldId="257"/>
        </pc:sldMkLst>
        <pc:spChg chg="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2" creationId="{D178420A-7812-2F4F-A440-137C7D6A14AC}"/>
          </ac:spMkLst>
        </pc:spChg>
        <pc:spChg chg="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3" creationId="{324ECC57-FC41-4244-8EE3-D8B928294279}"/>
          </ac:spMkLst>
        </pc:spChg>
        <pc:spChg chg="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6" creationId="{2994ECE7-9A92-784D-A21D-3209008F5D22}"/>
          </ac:spMkLst>
        </pc:spChg>
        <pc:spChg chg="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8" creationId="{BADE4275-1AFF-8C48-8988-390DA570F3B5}"/>
          </ac:spMkLst>
        </pc:spChg>
        <pc:spChg chg="del mod ord">
          <ac:chgData name="Tim Steinkuhler" userId="beffdc1d-4e7a-4c01-919b-797508770cb4" providerId="ADAL" clId="{633E8AE6-45D7-E74F-A75D-1581AC40A19E}" dt="2021-02-05T15:36:28.877" v="619"/>
          <ac:spMkLst>
            <pc:docMk/>
            <pc:sldMk cId="3622062168" sldId="257"/>
            <ac:spMk id="10" creationId="{81F4CE7E-7D96-D046-AC61-BCCD1DB4CA2B}"/>
          </ac:spMkLst>
        </pc:spChg>
        <pc:spChg chg="add del 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11" creationId="{6FD1D611-90FC-F04E-904A-5F05686B2352}"/>
          </ac:spMkLst>
        </pc:spChg>
        <pc:spChg chg="add del 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12" creationId="{6FE15E5C-C3E6-E841-9257-A23746BCB67C}"/>
          </ac:spMkLst>
        </pc:spChg>
        <pc:spChg chg="add del 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13" creationId="{C3CE632A-BD83-B347-BA7A-922874044C04}"/>
          </ac:spMkLst>
        </pc:spChg>
        <pc:spChg chg="add del mod ord">
          <ac:chgData name="Tim Steinkuhler" userId="beffdc1d-4e7a-4c01-919b-797508770cb4" providerId="ADAL" clId="{633E8AE6-45D7-E74F-A75D-1581AC40A19E}" dt="2021-02-05T15:37:47.659" v="622" actId="700"/>
          <ac:spMkLst>
            <pc:docMk/>
            <pc:sldMk cId="3622062168" sldId="257"/>
            <ac:spMk id="14" creationId="{22AD86EB-9360-F44E-8C93-71F1AE266C72}"/>
          </ac:spMkLst>
        </pc:spChg>
        <pc:spChg chg="add del mod ord">
          <ac:chgData name="Tim Steinkuhler" userId="beffdc1d-4e7a-4c01-919b-797508770cb4" providerId="ADAL" clId="{633E8AE6-45D7-E74F-A75D-1581AC40A19E}" dt="2021-02-05T15:37:47.659" v="622" actId="700"/>
          <ac:spMkLst>
            <pc:docMk/>
            <pc:sldMk cId="3622062168" sldId="257"/>
            <ac:spMk id="15" creationId="{B06F4EFB-A13C-234F-9A5E-11FA4126D81A}"/>
          </ac:spMkLst>
        </pc:spChg>
        <pc:spChg chg="add mod ord">
          <ac:chgData name="Tim Steinkuhler" userId="beffdc1d-4e7a-4c01-919b-797508770cb4" providerId="ADAL" clId="{633E8AE6-45D7-E74F-A75D-1581AC40A19E}" dt="2021-02-05T15:38:02.459" v="624"/>
          <ac:spMkLst>
            <pc:docMk/>
            <pc:sldMk cId="3622062168" sldId="257"/>
            <ac:spMk id="16" creationId="{A01C757C-89B0-4041-A5A6-2B36403E0E2D}"/>
          </ac:spMkLst>
        </pc:spChg>
      </pc:sldChg>
      <pc:sldChg chg="modSp mod">
        <pc:chgData name="Tim Steinkuhler" userId="beffdc1d-4e7a-4c01-919b-797508770cb4" providerId="ADAL" clId="{633E8AE6-45D7-E74F-A75D-1581AC40A19E}" dt="2021-02-05T15:47:08.144" v="626" actId="404"/>
        <pc:sldMkLst>
          <pc:docMk/>
          <pc:sldMk cId="971664958" sldId="258"/>
        </pc:sldMkLst>
        <pc:spChg chg="mod">
          <ac:chgData name="Tim Steinkuhler" userId="beffdc1d-4e7a-4c01-919b-797508770cb4" providerId="ADAL" clId="{633E8AE6-45D7-E74F-A75D-1581AC40A19E}" dt="2021-02-05T15:47:08.144" v="626" actId="404"/>
          <ac:spMkLst>
            <pc:docMk/>
            <pc:sldMk cId="971664958" sldId="258"/>
            <ac:spMk id="7" creationId="{687117B4-E28D-CD42-91F4-5E9BF26CC338}"/>
          </ac:spMkLst>
        </pc:spChg>
      </pc:sldChg>
    </pc:docChg>
  </pc:docChgLst>
  <pc:docChgLst>
    <pc:chgData name="Tim Steinkuhler" userId="S::tim.steinkuhler@knab.nl::beffdc1d-4e7a-4c01-919b-797508770cb4" providerId="AD" clId="Web-{6A90B17D-90D0-70B7-8415-DD4B26E07DBC}"/>
    <pc:docChg chg="modSld">
      <pc:chgData name="Tim Steinkuhler" userId="S::tim.steinkuhler@knab.nl::beffdc1d-4e7a-4c01-919b-797508770cb4" providerId="AD" clId="Web-{6A90B17D-90D0-70B7-8415-DD4B26E07DBC}" dt="2021-02-09T11:55:28.229" v="0"/>
      <pc:docMkLst>
        <pc:docMk/>
      </pc:docMkLst>
      <pc:sldChg chg="delSp">
        <pc:chgData name="Tim Steinkuhler" userId="S::tim.steinkuhler@knab.nl::beffdc1d-4e7a-4c01-919b-797508770cb4" providerId="AD" clId="Web-{6A90B17D-90D0-70B7-8415-DD4B26E07DBC}" dt="2021-02-09T11:55:28.229" v="0"/>
        <pc:sldMkLst>
          <pc:docMk/>
          <pc:sldMk cId="3622062168" sldId="257"/>
        </pc:sldMkLst>
        <pc:spChg chg="del">
          <ac:chgData name="Tim Steinkuhler" userId="S::tim.steinkuhler@knab.nl::beffdc1d-4e7a-4c01-919b-797508770cb4" providerId="AD" clId="Web-{6A90B17D-90D0-70B7-8415-DD4B26E07DBC}" dt="2021-02-09T11:55:28.229" v="0"/>
          <ac:spMkLst>
            <pc:docMk/>
            <pc:sldMk cId="3622062168" sldId="257"/>
            <ac:spMk id="3" creationId="{324ECC57-FC41-4244-8EE3-D8B92829427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7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58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A56D503-80D1-4AC7-A49B-BEC0B1AA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EB1ECA6-73DF-4EBB-A920-A672D7F2B1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8276DC8F-5F19-426F-BA94-D1FACEE204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74638"/>
            <a:ext cx="10799999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CEE5E7D-E7BC-4AF6-B72A-9905F8EB3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702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86" name="Picture 17">
            <a:extLst>
              <a:ext uri="{FF2B5EF4-FFF2-40B4-BE49-F238E27FC236}">
                <a16:creationId xmlns:a16="http://schemas.microsoft.com/office/drawing/2014/main" id="{7C062C76-EDB5-4F15-8EA9-AAE3657D1D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DC7BAFE8-8F26-4403-9E07-291D0BFD03F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554326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pic>
        <p:nvPicPr>
          <p:cNvPr id="87" name="Picture 17">
            <a:extLst>
              <a:ext uri="{FF2B5EF4-FFF2-40B4-BE49-F238E27FC236}">
                <a16:creationId xmlns:a16="http://schemas.microsoft.com/office/drawing/2014/main" id="{06B98FAA-2D90-433C-9726-BF23671D2C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333BACCA-0927-4FAE-9D64-2C581BD01C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741771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F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671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956B8-683C-49AE-B943-AE17BC5B40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" name="Tijdelijke aanduiding voor afbeelding 8">
            <a:extLst>
              <a:ext uri="{FF2B5EF4-FFF2-40B4-BE49-F238E27FC236}">
                <a16:creationId xmlns:a16="http://schemas.microsoft.com/office/drawing/2014/main" id="{8F221454-F774-4671-9AF9-619946064D4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36030" y="1464404"/>
            <a:ext cx="5135970" cy="4449034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8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88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:a16="http://schemas.microsoft.com/office/drawing/2014/main" id="{02CCC3D6-3CC2-41A9-9EE3-48B4BC1D8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7741E08-2EB3-410E-BCC4-A68C045B75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0C7E9AF-3BB1-4E08-9038-BD4F4B622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595812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F7B0EC-A631-4DF9-B83E-A8A75A82E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3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F7B0EC-A631-4DF9-B83E-A8A75A82E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D75470-6C2F-432C-AD1A-F9E2E8B29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9" name="Tijdelijke aanduiding voor grafiek 12">
            <a:extLst>
              <a:ext uri="{FF2B5EF4-FFF2-40B4-BE49-F238E27FC236}">
                <a16:creationId xmlns:a16="http://schemas.microsoft.com/office/drawing/2014/main" id="{5685BF9B-62F5-48C6-8576-6CBC7BFE4FF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55860" y="1474638"/>
            <a:ext cx="513597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4459254B-A8B5-413A-8F32-195FDC71E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0A832A4-1AFA-4667-BF72-F297CCBCB0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78647B3-5A42-4EE9-9E97-116D3059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184821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0%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4F47F9-34E4-4E1A-B142-596ABCFED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77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4F47F9-34E4-4E1A-B142-596ABCFED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9CB9FC-3516-43E7-AC4B-585BAB383F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08" name="Tijdelijke aanduiding voor grafiek 12">
            <a:extLst>
              <a:ext uri="{FF2B5EF4-FFF2-40B4-BE49-F238E27FC236}">
                <a16:creationId xmlns:a16="http://schemas.microsoft.com/office/drawing/2014/main" id="{13A571CF-54B8-4561-AD00-2E5818DE9ED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500" y="1473928"/>
            <a:ext cx="1080000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BF2356B-4E52-4A23-82FC-A1D54A5968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F141B47-F62F-4223-B4B1-ED05AABE8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7299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RIJ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130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B9DD5B-8F45-4E67-9233-B72927EA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:a16="http://schemas.microsoft.com/office/drawing/2014/main" id="{ED25C50A-F42A-40DA-BDF0-A567612DB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87822D74-F32C-4568-85FB-2C7F5AFAAC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74B2107D-8F02-440D-85F2-4F338FF22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8032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459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61A0EA42-27DC-4031-A126-75343F97BA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5F8978B-78E4-4C09-9443-5519F1D844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05E8325-F8D2-4EFE-BBDF-624B987CF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87610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KST + INFO SLIDE (RO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48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BCE838F5-5269-49ED-ADB9-B3EFC9B81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EC58F36-D463-46EA-9CB3-57A9E3E1F0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242D3D-AF58-4DBC-91BF-1787BDCCD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42696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+ INFO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99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B190B2-308C-4C6B-81D4-0416B0500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9951"/>
            <a:ext cx="3855193" cy="4438800"/>
          </a:xfrm>
          <a:prstGeom prst="roundRect">
            <a:avLst>
              <a:gd name="adj" fmla="val 20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3" name="Tijdelijke aanduiding voor grafiek 12">
            <a:extLst>
              <a:ext uri="{FF2B5EF4-FFF2-40B4-BE49-F238E27FC236}">
                <a16:creationId xmlns:a16="http://schemas.microsoft.com/office/drawing/2014/main" id="{BB9DE0E2-58A3-473F-8A22-62189674A1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241" y="1469951"/>
            <a:ext cx="6616959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62DD76D0-C0F2-48C6-93FC-B389F75F1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8D49EC70-9316-4312-8191-3EAA7336E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8182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78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72FC09-B19D-4987-9DEB-DF43291BA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rgbClr val="2DA4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7F746EC4-8E60-4587-84EE-341D28A66AA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08A424E-4058-487D-BA60-2829146CF1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2A48196-FA4A-42EA-B13D-FE332DC43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9447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–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73D507-80BD-4317-93B7-89A9325B4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080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73D507-80BD-4317-93B7-89A9325B4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3C31CB-16A4-4D58-934C-21143F7EDF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9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C47801-77FF-4DF0-A7B5-7B1D084DA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513597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1 style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F2EA4E5-B686-47F3-937E-1F077AEA9D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7599" y="949210"/>
            <a:ext cx="515907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2 style</a:t>
            </a:r>
            <a:endParaRPr lang="nl-NL"/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:a16="http://schemas.microsoft.com/office/drawing/2014/main" id="{23809F10-0331-48BE-9C4B-33029A84E9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75E4C565-6BA5-456E-AB5C-09306C659AF2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>
          <a:xfrm>
            <a:off x="6360705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2A24DC3-D2B1-47DC-BF57-7C806D1B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61967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EL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1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3C6ECE0-EA6A-4C59-BCA6-D23468C6A5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0" name="Picture 10">
            <a:extLst>
              <a:ext uri="{FF2B5EF4-FFF2-40B4-BE49-F238E27FC236}">
                <a16:creationId xmlns:a16="http://schemas.microsoft.com/office/drawing/2014/main" id="{A5720880-F413-4FBC-9D10-8C89F4FC02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43E6399-10A6-4BBE-AB30-0A39672468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FC2EC18-1E37-464F-9370-B0F9135B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9853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#2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A6B907-2844-477B-B0F6-CE91006D9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04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A6B907-2844-477B-B0F6-CE91006D9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BF0DAF-60D2-4E00-9D7D-19BEC7E0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7" name="Ovaal 106">
            <a:extLst>
              <a:ext uri="{FF2B5EF4-FFF2-40B4-BE49-F238E27FC236}">
                <a16:creationId xmlns:a16="http://schemas.microsoft.com/office/drawing/2014/main" id="{373626ED-5C29-4711-8E42-3F8432F0CEFD}"/>
              </a:ext>
            </a:extLst>
          </p:cNvPr>
          <p:cNvSpPr/>
          <p:nvPr/>
        </p:nvSpPr>
        <p:spPr>
          <a:xfrm>
            <a:off x="7824192" y="1630432"/>
            <a:ext cx="3707037" cy="37070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1" name="Tijdelijke aanduiding voor tekst 13">
            <a:extLst>
              <a:ext uri="{FF2B5EF4-FFF2-40B4-BE49-F238E27FC236}">
                <a16:creationId xmlns:a16="http://schemas.microsoft.com/office/drawing/2014/main" id="{273D64F0-578E-4A43-A1D7-BB30597F34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412" y="2849976"/>
            <a:ext cx="3000877" cy="125009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112" name="Tijdelijke aanduiding voor tabel 8">
            <a:extLst>
              <a:ext uri="{FF2B5EF4-FFF2-40B4-BE49-F238E27FC236}">
                <a16:creationId xmlns:a16="http://schemas.microsoft.com/office/drawing/2014/main" id="{F92D02E3-3F87-4550-9BBA-BA5F4CBCE7AF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1200" y="1469990"/>
            <a:ext cx="6620424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pic>
        <p:nvPicPr>
          <p:cNvPr id="114" name="Picture 30">
            <a:extLst>
              <a:ext uri="{FF2B5EF4-FFF2-40B4-BE49-F238E27FC236}">
                <a16:creationId xmlns:a16="http://schemas.microsoft.com/office/drawing/2014/main" id="{435A6C5E-99F0-4722-A349-21A058831E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2434" y="1765210"/>
            <a:ext cx="820532" cy="820532"/>
          </a:xfrm>
          <a:prstGeom prst="rect">
            <a:avLst/>
          </a:prstGeom>
        </p:spPr>
      </p:pic>
      <p:sp>
        <p:nvSpPr>
          <p:cNvPr id="12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5A6B3C0-0DC0-44B3-A0CC-F3D0D53250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371381D-3652-4CCB-84FD-EB89354DE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665719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09B21A57-EAC1-478B-A7C4-1BC7EA7F6A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3706372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877905F9-4CCB-48C2-9FB3-9D0B2C81F2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D5848E48-1D76-4892-9652-12FAF2F234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36308355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9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0ACA17D8-971C-4CDE-AC38-A78A01F245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B6A49145-E83E-4B8D-BDA0-4A69D8E3A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10564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733AED8E-BA39-4FB6-A8A2-E2CC82B973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AF2ED82E-0474-4E9D-AB24-A1212E27D1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9198217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6" name="Tijdelijke aanduiding voor tekst 13">
            <a:extLst>
              <a:ext uri="{FF2B5EF4-FFF2-40B4-BE49-F238E27FC236}">
                <a16:creationId xmlns:a16="http://schemas.microsoft.com/office/drawing/2014/main" id="{195DE720-32C9-4CFD-AE8E-8CCF7889C2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6572" y="1470321"/>
            <a:ext cx="5952401" cy="538767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243" r="1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28800" y="3017026"/>
            <a:ext cx="3493008" cy="490387"/>
          </a:xfrm>
          <a:prstGeom prst="rect">
            <a:avLst/>
          </a:prstGeom>
        </p:spPr>
        <p:txBody>
          <a:bodyPr anchor="b"/>
          <a:lstStyle>
            <a:lvl1pPr algn="l">
              <a:defRPr sz="2400"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3708044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</a:defRPr>
            </a:lvl1pPr>
            <a:lvl2pPr marL="723900" indent="-279400">
              <a:buSzPct val="130000"/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34670" y="1118612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tel 5">
            <a:extLst>
              <a:ext uri="{FF2B5EF4-FFF2-40B4-BE49-F238E27FC236}">
                <a16:creationId xmlns:a16="http://schemas.microsoft.com/office/drawing/2014/main" id="{9B265A4B-6BD7-4DB1-A51C-DB34429087AA}"/>
              </a:ext>
            </a:extLst>
          </p:cNvPr>
          <p:cNvSpPr txBox="1">
            <a:spLocks/>
          </p:cNvSpPr>
          <p:nvPr/>
        </p:nvSpPr>
        <p:spPr>
          <a:xfrm>
            <a:off x="8000492" y="2326008"/>
            <a:ext cx="3493008" cy="4903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err="1">
                <a:solidFill>
                  <a:schemeClr val="bg1"/>
                </a:solidFill>
              </a:rPr>
              <a:t>Title</a:t>
            </a:r>
            <a:endParaRPr lang="nl-NL">
              <a:solidFill>
                <a:schemeClr val="bg1"/>
              </a:solidFill>
            </a:endParaRP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id="{CBA54B9D-96C5-4739-8FEA-D49FD5340F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0492" y="3017026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3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723900" indent="-279400">
              <a:buClr>
                <a:schemeClr val="bg1"/>
              </a:buClr>
              <a:buSzPct val="13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103" name="Tijdelijke aanduiding voor tekst 13">
            <a:extLst>
              <a:ext uri="{FF2B5EF4-FFF2-40B4-BE49-F238E27FC236}">
                <a16:creationId xmlns:a16="http://schemas.microsoft.com/office/drawing/2014/main" id="{481F00D0-9193-4352-9210-C36CC7482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2556" y="1794388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4" name="Tijdelijke aanduiding voor tekst 13">
            <a:extLst>
              <a:ext uri="{FF2B5EF4-FFF2-40B4-BE49-F238E27FC236}">
                <a16:creationId xmlns:a16="http://schemas.microsoft.com/office/drawing/2014/main" id="{A0DCC1D8-6CD9-438A-8279-FC390BB04A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05539" y="1241340"/>
            <a:ext cx="914146" cy="952738"/>
          </a:xfrm>
          <a:prstGeom prst="rect">
            <a:avLst/>
          </a:prstGeom>
          <a:blipFill>
            <a:blip r:embed="rId5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7906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5034" y="2115389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13">
            <a:extLst>
              <a:ext uri="{FF2B5EF4-FFF2-40B4-BE49-F238E27FC236}">
                <a16:creationId xmlns:a16="http://schemas.microsoft.com/office/drawing/2014/main" id="{E5964C3D-39FB-486E-B1CA-327355345B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1895" y="0"/>
            <a:ext cx="6094851" cy="565769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496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13">
            <a:extLst>
              <a:ext uri="{FF2B5EF4-FFF2-40B4-BE49-F238E27FC236}">
                <a16:creationId xmlns:a16="http://schemas.microsoft.com/office/drawing/2014/main" id="{5D7AAD86-A20B-4FED-ABB5-690DD462C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466" y="3443085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id="{D2DA99D1-2C1C-4553-8198-85E59B09FF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56443" y="1979139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99" name="Tijdelijke aanduiding voor tekst 13">
            <a:extLst>
              <a:ext uri="{FF2B5EF4-FFF2-40B4-BE49-F238E27FC236}">
                <a16:creationId xmlns:a16="http://schemas.microsoft.com/office/drawing/2014/main" id="{487AAEE7-3E5F-4E8C-9062-3C7FDB0C83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474602" y="2417899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4850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INGL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53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C6AA031-27F1-47F8-BB08-9B10EAB5E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108000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637882E-8BD0-4359-A658-B79548318C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376363"/>
            <a:ext cx="10799999" cy="4537075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D1D8C6B-EDA7-4181-9996-93F142DA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668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21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sp>
        <p:nvSpPr>
          <p:cNvPr id="1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  <p:pic>
        <p:nvPicPr>
          <p:cNvPr id="21" name="Picture 12">
            <a:extLst>
              <a:ext uri="{FF2B5EF4-FFF2-40B4-BE49-F238E27FC236}">
                <a16:creationId xmlns:a16="http://schemas.microsoft.com/office/drawing/2014/main" id="{2ADC06D3-FB1A-4AA6-8AD3-BF07FA5D86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70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759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546695"/>
          </a:xfrm>
          <a:prstGeom prst="rect">
            <a:avLst/>
          </a:prstGeom>
        </p:spPr>
      </p:pic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pic>
        <p:nvPicPr>
          <p:cNvPr id="59" name="Picture 12">
            <a:extLst>
              <a:ext uri="{FF2B5EF4-FFF2-40B4-BE49-F238E27FC236}">
                <a16:creationId xmlns:a16="http://schemas.microsoft.com/office/drawing/2014/main" id="{62B80BC6-573C-4D80-B198-85ACA22268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58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958636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1" name="Picture 12">
            <a:extLst>
              <a:ext uri="{FF2B5EF4-FFF2-40B4-BE49-F238E27FC236}">
                <a16:creationId xmlns:a16="http://schemas.microsoft.com/office/drawing/2014/main" id="{806F4757-518C-4073-827C-AA71CBBE7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17" name="Tijdelijke aanduiding voor afbeelding 8">
            <a:extLst>
              <a:ext uri="{FF2B5EF4-FFF2-40B4-BE49-F238E27FC236}">
                <a16:creationId xmlns:a16="http://schemas.microsoft.com/office/drawing/2014/main" id="{116416CB-EBA7-40C8-BE47-2348D375A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1568246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3" name="Picture 7">
            <a:extLst>
              <a:ext uri="{FF2B5EF4-FFF2-40B4-BE49-F238E27FC236}">
                <a16:creationId xmlns:a16="http://schemas.microsoft.com/office/drawing/2014/main" id="{CB3445F2-35F5-4AAC-837E-52ADB47DAB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6" y="1135033"/>
            <a:ext cx="987611" cy="987611"/>
          </a:xfrm>
          <a:prstGeom prst="rect">
            <a:avLst/>
          </a:prstGeom>
        </p:spPr>
      </p:pic>
      <p:sp>
        <p:nvSpPr>
          <p:cNvPr id="16" name="Tijdelijke aanduiding voor afbeelding 8">
            <a:extLst>
              <a:ext uri="{FF2B5EF4-FFF2-40B4-BE49-F238E27FC236}">
                <a16:creationId xmlns:a16="http://schemas.microsoft.com/office/drawing/2014/main" id="{16AB1C94-D32E-491C-A27D-F3DE236E3A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983664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7D7AE1C-668E-4833-B70A-727FF1D066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  <p:pic>
        <p:nvPicPr>
          <p:cNvPr id="86" name="Picture 17">
            <a:extLst>
              <a:ext uri="{FF2B5EF4-FFF2-40B4-BE49-F238E27FC236}">
                <a16:creationId xmlns:a16="http://schemas.microsoft.com/office/drawing/2014/main" id="{E808A474-A497-4C5E-AD1E-A317DC220B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767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89" name="Picture 17">
            <a:extLst>
              <a:ext uri="{FF2B5EF4-FFF2-40B4-BE49-F238E27FC236}">
                <a16:creationId xmlns:a16="http://schemas.microsoft.com/office/drawing/2014/main" id="{AC7CAF1D-9A40-4D8B-92F2-285B5DB92A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74C9D7A0-9384-4ED6-9083-9CDA8FE4E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400753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5021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32" imgW="286" imgH="286" progId="TCLayout.ActiveDocument.1">
                  <p:embed/>
                </p:oleObj>
              </mc:Choice>
              <mc:Fallback>
                <p:oleObj name="think-cell Slide" r:id="rId32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98500" y="6192137"/>
            <a:ext cx="96393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on’t forget to edit the footnotes. Use this for mentioning sourcing and further clarificationsC</a:t>
            </a: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563318" y="6403079"/>
            <a:ext cx="482292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26" name="Picture 17">
            <a:extLst>
              <a:ext uri="{FF2B5EF4-FFF2-40B4-BE49-F238E27FC236}">
                <a16:creationId xmlns:a16="http://schemas.microsoft.com/office/drawing/2014/main" id="{7E508851-1889-4E58-B1A1-122653D19601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02" y="6192137"/>
            <a:ext cx="1080116" cy="3507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7EEBF1E-B876-4544-8D7E-F3970A085C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722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ab Internal</a:t>
            </a:r>
          </a:p>
        </p:txBody>
      </p:sp>
    </p:spTree>
    <p:extLst>
      <p:ext uri="{BB962C8B-B14F-4D97-AF65-F5344CB8AC3E}">
        <p14:creationId xmlns:p14="http://schemas.microsoft.com/office/powerpoint/2010/main" val="2831793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692" r:id="rId2"/>
    <p:sldLayoutId id="2147483734" r:id="rId3"/>
    <p:sldLayoutId id="2147483682" r:id="rId4"/>
    <p:sldLayoutId id="2147483683" r:id="rId5"/>
    <p:sldLayoutId id="2147483684" r:id="rId6"/>
    <p:sldLayoutId id="2147483685" r:id="rId7"/>
    <p:sldLayoutId id="2147483689" r:id="rId8"/>
    <p:sldLayoutId id="2147483688" r:id="rId9"/>
    <p:sldLayoutId id="2147483690" r:id="rId10"/>
    <p:sldLayoutId id="2147483691" r:id="rId11"/>
    <p:sldLayoutId id="2147483701" r:id="rId12"/>
    <p:sldLayoutId id="2147483720" r:id="rId13"/>
    <p:sldLayoutId id="2147483728" r:id="rId14"/>
    <p:sldLayoutId id="2147483717" r:id="rId15"/>
    <p:sldLayoutId id="2147483716" r:id="rId16"/>
    <p:sldLayoutId id="2147483736" r:id="rId17"/>
    <p:sldLayoutId id="2147483737" r:id="rId18"/>
    <p:sldLayoutId id="2147483729" r:id="rId19"/>
    <p:sldLayoutId id="2147483738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7488" indent="-217488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Segoe UI Light" panose="020B0502040204020203" pitchFamily="34" charset="0"/>
        <a:buChar char="•"/>
        <a:defRPr sz="1000" kern="1200" baseline="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1pPr>
      <a:lvl2pPr marL="622300" indent="-17780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2pPr>
      <a:lvl3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3pPr>
      <a:lvl4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 cap="none" spc="30" baseline="0">
          <a:solidFill>
            <a:schemeClr val="tx2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Font typeface="+mj-lt"/>
        <a:buAutoNum type="arabicPeriod"/>
        <a:defRPr sz="100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Arial" panose="020B0604020202020204" pitchFamily="34" charset="0"/>
        <a:buNone/>
        <a:defRPr sz="900" b="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82563" indent="-182563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40000"/>
        <a:buFont typeface="Arial" panose="020B0604020202020204" pitchFamily="34" charset="0"/>
        <a:buChar char="•"/>
        <a:defRPr sz="10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100" b="1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>
          <a:solidFill>
            <a:schemeClr val="accent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438">
          <p15:clr>
            <a:srgbClr val="F26B43"/>
          </p15:clr>
        </p15:guide>
        <p15:guide id="7" pos="7242">
          <p15:clr>
            <a:srgbClr val="F26B43"/>
          </p15:clr>
        </p15:guide>
        <p15:guide id="8" orient="horz" pos="3725">
          <p15:clr>
            <a:srgbClr val="F26B43"/>
          </p15:clr>
        </p15:guide>
        <p15:guide id="9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E43DAF2-D5EB-AD4B-A164-0F01173C0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4838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E43DAF2-D5EB-AD4B-A164-0F01173C0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E243BDF-B7C9-E345-B5E1-297BCEF99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BI Engineer</a:t>
            </a:r>
            <a:br>
              <a:rPr lang="en-NL"/>
            </a:br>
            <a:r>
              <a:rPr lang="en-NL"/>
              <a:t>Assign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79BAA1-708A-2D47-8AD1-F27D3EA187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09400" y="6402388"/>
            <a:ext cx="482600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13119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A5C641-0BF6-124F-B9B2-C55FB1608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1327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A5C641-0BF6-124F-B9B2-C55FB1608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8420A-7812-2F4F-A440-137C7D6A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2</a:t>
            </a:fld>
            <a:endParaRPr lang="nl-NL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01C757C-89B0-4041-A5A6-2B36403E0E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Vertical Text Placeholder 5">
            <a:extLst>
              <a:ext uri="{FF2B5EF4-FFF2-40B4-BE49-F238E27FC236}">
                <a16:creationId xmlns:a16="http://schemas.microsoft.com/office/drawing/2014/main" id="{2994ECE7-9A92-784D-A21D-3209008F5D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 lIns="0" tIns="0" rIns="0" bIns="0" anchor="t"/>
          <a:lstStyle/>
          <a:p>
            <a:pPr marL="0" indent="0">
              <a:buNone/>
            </a:pPr>
            <a:r>
              <a:rPr lang="en-NL" dirty="0"/>
              <a:t>This assignment is meant to help Knab gain more insight into how you </a:t>
            </a:r>
            <a:r>
              <a:rPr lang="en-NL"/>
              <a:t>approach</a:t>
            </a:r>
            <a:r>
              <a:rPr lang="en-NL" dirty="0"/>
              <a:t> business problems.</a:t>
            </a:r>
          </a:p>
          <a:p>
            <a:pPr marL="0" indent="0">
              <a:buNone/>
            </a:pPr>
            <a:r>
              <a:rPr lang="en-NL" dirty="0"/>
              <a:t>We would be very happy if you would prepare a presentation with the results of the case described on the next page and send it to us the day before the next interview.</a:t>
            </a:r>
            <a:endParaRPr lang="en-NL" dirty="0">
              <a:ea typeface="Verdana"/>
            </a:endParaRPr>
          </a:p>
          <a:p>
            <a:pPr marL="0" indent="0">
              <a:buNone/>
            </a:pPr>
            <a:r>
              <a:rPr lang="en-NL" dirty="0"/>
              <a:t>During the next interview, you will get the chance to present your results to us and we can ask for clarifications.                                                                                                                  </a:t>
            </a:r>
            <a:endParaRPr lang="en-NL" dirty="0">
              <a:ea typeface="Verdana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DE4275-1AFF-8C48-8988-390DA570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Explanation</a:t>
            </a:r>
          </a:p>
        </p:txBody>
      </p:sp>
    </p:spTree>
    <p:extLst>
      <p:ext uri="{BB962C8B-B14F-4D97-AF65-F5344CB8AC3E}">
        <p14:creationId xmlns:p14="http://schemas.microsoft.com/office/powerpoint/2010/main" val="362206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A5C641-0BF6-124F-B9B2-C55FB1608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902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A5C641-0BF6-124F-B9B2-C55FB1608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8420A-7812-2F4F-A440-137C7D6A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3</a:t>
            </a:fld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2365E3-428A-4948-B854-7AE3CC410E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CD307A-4F9E-4749-A916-499177BB16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sp>
        <p:nvSpPr>
          <p:cNvPr id="6" name="Vertical Text Placeholder 5">
            <a:extLst>
              <a:ext uri="{FF2B5EF4-FFF2-40B4-BE49-F238E27FC236}">
                <a16:creationId xmlns:a16="http://schemas.microsoft.com/office/drawing/2014/main" id="{2994ECE7-9A92-784D-A21D-3209008F5D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 lIns="0" tIns="0" rIns="0" bIns="0" anchor="t"/>
          <a:lstStyle/>
          <a:p>
            <a:pPr marL="0" indent="0">
              <a:buNone/>
            </a:pPr>
            <a:r>
              <a:rPr lang="en-NL" sz="1100" dirty="0"/>
              <a:t>Don is the COO at Knab. He is responsible for complying with DNB regulations, one of which is around the DGS (Deposito </a:t>
            </a:r>
            <a:r>
              <a:rPr lang="en-NL" sz="1100" dirty="0" err="1"/>
              <a:t>Garantie</a:t>
            </a:r>
            <a:r>
              <a:rPr lang="en-NL" sz="1100" dirty="0"/>
              <a:t> </a:t>
            </a:r>
            <a:r>
              <a:rPr lang="en-NL" sz="1100" dirty="0" err="1"/>
              <a:t>Stelsel</a:t>
            </a:r>
            <a:r>
              <a:rPr lang="en-NL" sz="1100" dirty="0"/>
              <a:t>). The DNB guarantees a maximum amount of € 100K per person in case the bank goes bankrupt.</a:t>
            </a:r>
          </a:p>
          <a:p>
            <a:pPr marL="0" indent="0">
              <a:buNone/>
            </a:pPr>
            <a:r>
              <a:rPr lang="en-NL" sz="1100" dirty="0"/>
              <a:t>In order for the DNB to make good on that promise, they want to know exactly how much money they would need to pay out. So Don wants to give them a list of all customers and the amount of money that is guaranteed by the DNB for those customers at the end of last year.</a:t>
            </a:r>
            <a:endParaRPr lang="en-NL" sz="1100" dirty="0">
              <a:ea typeface="Verdana"/>
            </a:endParaRPr>
          </a:p>
          <a:p>
            <a:pPr marL="0" indent="0">
              <a:buNone/>
            </a:pPr>
            <a:r>
              <a:rPr lang="en-NL" sz="1100" dirty="0"/>
              <a:t>What makes it slightly more interesting, there are multiple source databases with information about customers (CRM) and about financial transactions (let’s call them Fin) and customers can appear in multiple </a:t>
            </a:r>
            <a:r>
              <a:rPr lang="en-NL" sz="1100"/>
              <a:t>systems at once.</a:t>
            </a:r>
            <a:endParaRPr lang="en-NL" sz="1100">
              <a:ea typeface="Verdana"/>
            </a:endParaRPr>
          </a:p>
        </p:txBody>
      </p:sp>
      <p:sp>
        <p:nvSpPr>
          <p:cNvPr id="7" name="Vertical Text Placeholder 6">
            <a:extLst>
              <a:ext uri="{FF2B5EF4-FFF2-40B4-BE49-F238E27FC236}">
                <a16:creationId xmlns:a16="http://schemas.microsoft.com/office/drawing/2014/main" id="{687117B4-E28D-CD42-91F4-5E9BF26CC338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/>
        <p:txBody>
          <a:bodyPr/>
          <a:lstStyle/>
          <a:p>
            <a:r>
              <a:rPr lang="en-US" sz="1100"/>
              <a:t>Describe which data you think should be used to answer </a:t>
            </a:r>
            <a:r>
              <a:rPr lang="en-NL" sz="1100"/>
              <a:t>Don’s</a:t>
            </a:r>
            <a:r>
              <a:rPr lang="en-US" sz="1100"/>
              <a:t> question</a:t>
            </a:r>
          </a:p>
          <a:p>
            <a:r>
              <a:rPr lang="en-US" sz="1100"/>
              <a:t>Draw a dimensional data model describing these data sets</a:t>
            </a:r>
          </a:p>
          <a:p>
            <a:r>
              <a:rPr lang="en-US" sz="1100"/>
              <a:t>Describe which controls you would implement to ensure the final result is correct.</a:t>
            </a:r>
          </a:p>
          <a:p>
            <a:r>
              <a:rPr lang="en-US" sz="1100"/>
              <a:t>Write a SQL query that produces the desired resul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DE4275-1AFF-8C48-8988-390DA570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Case</a:t>
            </a:r>
          </a:p>
        </p:txBody>
      </p:sp>
      <p:sp>
        <p:nvSpPr>
          <p:cNvPr id="11" name="Can 10">
            <a:extLst>
              <a:ext uri="{FF2B5EF4-FFF2-40B4-BE49-F238E27FC236}">
                <a16:creationId xmlns:a16="http://schemas.microsoft.com/office/drawing/2014/main" id="{4F1FAF9B-C6E8-2A42-B2AB-D1775C041D2B}"/>
              </a:ext>
            </a:extLst>
          </p:cNvPr>
          <p:cNvSpPr/>
          <p:nvPr/>
        </p:nvSpPr>
        <p:spPr>
          <a:xfrm>
            <a:off x="86115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RM A</a:t>
            </a:r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id="{3B14E560-DDE4-9F44-AC3B-DFA196AD0B4F}"/>
              </a:ext>
            </a:extLst>
          </p:cNvPr>
          <p:cNvSpPr/>
          <p:nvPr/>
        </p:nvSpPr>
        <p:spPr>
          <a:xfrm>
            <a:off x="86115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CRM B</a:t>
            </a: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0B6B90A5-7F53-4B4D-B882-7AF1A232F0E6}"/>
              </a:ext>
            </a:extLst>
          </p:cNvPr>
          <p:cNvSpPr/>
          <p:nvPr/>
        </p:nvSpPr>
        <p:spPr>
          <a:xfrm>
            <a:off x="395706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in A</a:t>
            </a:r>
          </a:p>
        </p:txBody>
      </p:sp>
      <p:sp>
        <p:nvSpPr>
          <p:cNvPr id="14" name="Can 13">
            <a:extLst>
              <a:ext uri="{FF2B5EF4-FFF2-40B4-BE49-F238E27FC236}">
                <a16:creationId xmlns:a16="http://schemas.microsoft.com/office/drawing/2014/main" id="{69389FD3-EA3D-8844-B5B5-82CD6E9262A7}"/>
              </a:ext>
            </a:extLst>
          </p:cNvPr>
          <p:cNvSpPr/>
          <p:nvPr/>
        </p:nvSpPr>
        <p:spPr>
          <a:xfrm>
            <a:off x="395706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in B</a:t>
            </a:r>
          </a:p>
        </p:txBody>
      </p:sp>
    </p:spTree>
    <p:extLst>
      <p:ext uri="{BB962C8B-B14F-4D97-AF65-F5344CB8AC3E}">
        <p14:creationId xmlns:p14="http://schemas.microsoft.com/office/powerpoint/2010/main" val="971664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.17EHrF6whtKAUY9t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U_.fDPpD9kJYx6U4J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7qvjkPSSGXdZpWZY4q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670U9LQVWErRVWUNo0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1wY6uTZiuNay_Y77X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WbwvTRJKe1AZ9ZvH2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F_KE4TOyZb6Zdim4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cd677kRICsQQmM06.3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4jRfaw9pZagkPh4mq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1dcnERMuWwMYIdAB6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KmLYwSfetZvBuL4dv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A0pBE4Q9C0yg0aS_RX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heme/theme1.xml><?xml version="1.0" encoding="utf-8"?>
<a:theme xmlns:a="http://schemas.openxmlformats.org/drawingml/2006/main" name="Knab Theme">
  <a:themeElements>
    <a:clrScheme name="Daan">
      <a:dk1>
        <a:srgbClr val="000000"/>
      </a:dk1>
      <a:lt1>
        <a:srgbClr val="FFFFFF"/>
      </a:lt1>
      <a:dk2>
        <a:srgbClr val="003B5A"/>
      </a:dk2>
      <a:lt2>
        <a:srgbClr val="EEF2F2"/>
      </a:lt2>
      <a:accent1>
        <a:srgbClr val="00A3A7"/>
      </a:accent1>
      <a:accent2>
        <a:srgbClr val="DEE0E3"/>
      </a:accent2>
      <a:accent3>
        <a:srgbClr val="003B5A"/>
      </a:accent3>
      <a:accent4>
        <a:srgbClr val="E85875"/>
      </a:accent4>
      <a:accent5>
        <a:srgbClr val="FBC037"/>
      </a:accent5>
      <a:accent6>
        <a:srgbClr val="00BFC4"/>
      </a:accent6>
      <a:hlink>
        <a:srgbClr val="004F76"/>
      </a:hlink>
      <a:folHlink>
        <a:srgbClr val="EA6881"/>
      </a:folHlink>
    </a:clrScheme>
    <a:fontScheme name="Kna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Knab Theme" id="{26AB789D-961D-9245-B629-CEE60EBD2278}" vid="{916A9AD8-B5B9-2E40-BD3B-DFB7C56B02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68D8E6376D734A80136D1B1082AC8B" ma:contentTypeVersion="12" ma:contentTypeDescription="Create a new document." ma:contentTypeScope="" ma:versionID="01cb8cfbcac3f91832a0cf7739352950">
  <xsd:schema xmlns:xsd="http://www.w3.org/2001/XMLSchema" xmlns:xs="http://www.w3.org/2001/XMLSchema" xmlns:p="http://schemas.microsoft.com/office/2006/metadata/properties" xmlns:ns2="a95e042f-c618-4611-b5d8-56991745aacf" xmlns:ns3="8e70508c-521f-429c-adc2-bc1d4b76fc91" targetNamespace="http://schemas.microsoft.com/office/2006/metadata/properties" ma:root="true" ma:fieldsID="f9b52f15261d10dd9e613d5c414234a5" ns2:_="" ns3:_="">
    <xsd:import namespace="a95e042f-c618-4611-b5d8-56991745aacf"/>
    <xsd:import namespace="8e70508c-521f-429c-adc2-bc1d4b76fc9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5e042f-c618-4611-b5d8-56991745aac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0508c-521f-429c-adc2-bc1d4b76fc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00F4ED-7202-4932-8B2F-E596A66B5F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7F0F6D-D35E-4906-89AF-862A0674056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3734172-9A2C-4472-830F-0FBE8884061E}">
  <ds:schemaRefs>
    <ds:schemaRef ds:uri="8e70508c-521f-429c-adc2-bc1d4b76fc91"/>
    <ds:schemaRef ds:uri="a95e042f-c618-4611-b5d8-56991745aac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nab Theme</Template>
  <Application>Microsoft Office PowerPoint</Application>
  <PresentationFormat>Widescreen</PresentationFormat>
  <Slides>3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Knab Theme</vt:lpstr>
      <vt:lpstr>BI Engineer Assignment</vt:lpstr>
      <vt:lpstr>Explanation</vt:lpstr>
      <vt:lpstr>Ca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 Engineer Assignment</dc:title>
  <dc:creator>Tim Steinkuhler</dc:creator>
  <cp:revision>8</cp:revision>
  <dcterms:created xsi:type="dcterms:W3CDTF">2021-02-05T14:47:58Z</dcterms:created>
  <dcterms:modified xsi:type="dcterms:W3CDTF">2021-02-09T11:5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93a896d-3e47-44c3-b439-2ca85ed2817e_Enabled">
    <vt:lpwstr>true</vt:lpwstr>
  </property>
  <property fmtid="{D5CDD505-2E9C-101B-9397-08002B2CF9AE}" pid="3" name="MSIP_Label_c93a896d-3e47-44c3-b439-2ca85ed2817e_SetDate">
    <vt:lpwstr>2021-02-05T14:47:58Z</vt:lpwstr>
  </property>
  <property fmtid="{D5CDD505-2E9C-101B-9397-08002B2CF9AE}" pid="4" name="MSIP_Label_c93a896d-3e47-44c3-b439-2ca85ed2817e_Method">
    <vt:lpwstr>Standard</vt:lpwstr>
  </property>
  <property fmtid="{D5CDD505-2E9C-101B-9397-08002B2CF9AE}" pid="5" name="MSIP_Label_c93a896d-3e47-44c3-b439-2ca85ed2817e_Name">
    <vt:lpwstr>c93a896d-3e47-44c3-b439-2ca85ed2817e</vt:lpwstr>
  </property>
  <property fmtid="{D5CDD505-2E9C-101B-9397-08002B2CF9AE}" pid="6" name="MSIP_Label_c93a896d-3e47-44c3-b439-2ca85ed2817e_SiteId">
    <vt:lpwstr>85daa278-99b8-4a25-a71f-837d7baa6f60</vt:lpwstr>
  </property>
  <property fmtid="{D5CDD505-2E9C-101B-9397-08002B2CF9AE}" pid="7" name="MSIP_Label_c93a896d-3e47-44c3-b439-2ca85ed2817e_ActionId">
    <vt:lpwstr>9726be02-113e-442c-ba65-65e3c941761d</vt:lpwstr>
  </property>
  <property fmtid="{D5CDD505-2E9C-101B-9397-08002B2CF9AE}" pid="8" name="MSIP_Label_c93a896d-3e47-44c3-b439-2ca85ed2817e_ContentBits">
    <vt:lpwstr>2</vt:lpwstr>
  </property>
  <property fmtid="{D5CDD505-2E9C-101B-9397-08002B2CF9AE}" pid="9" name="ClassificationContentMarkingFooterLocations">
    <vt:lpwstr>Knab Theme:4</vt:lpwstr>
  </property>
  <property fmtid="{D5CDD505-2E9C-101B-9397-08002B2CF9AE}" pid="10" name="ClassificationContentMarkingFooterText">
    <vt:lpwstr>Knab Internal</vt:lpwstr>
  </property>
  <property fmtid="{D5CDD505-2E9C-101B-9397-08002B2CF9AE}" pid="11" name="ContentTypeId">
    <vt:lpwstr>0x0101009168D8E6376D734A80136D1B1082AC8B</vt:lpwstr>
  </property>
</Properties>
</file>